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5"/>
  </p:notesMasterIdLst>
  <p:sldIdLst>
    <p:sldId id="893" r:id="rId3"/>
    <p:sldId id="852" r:id="rId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5-02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5-02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5-02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5-02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5-02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5-02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AC7164EE-E6D7-44EB-9DD1-55C035DB6F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2000"/>
          </a:blip>
          <a:srcRect b="25000"/>
          <a:stretch/>
        </p:blipFill>
        <p:spPr>
          <a:xfrm>
            <a:off x="-1" y="10"/>
            <a:ext cx="12192000" cy="6857990"/>
          </a:xfrm>
          <a:prstGeom prst="rect">
            <a:avLst/>
          </a:prstGeom>
        </p:spPr>
      </p:pic>
      <p:sp>
        <p:nvSpPr>
          <p:cNvPr id="8" name="Stroomdiagram: Verbindingslijn 7">
            <a:extLst>
              <a:ext uri="{FF2B5EF4-FFF2-40B4-BE49-F238E27FC236}">
                <a16:creationId xmlns:a16="http://schemas.microsoft.com/office/drawing/2014/main" id="{F74D482A-E50B-42D3-83F1-B74233B28AFB}"/>
              </a:ext>
            </a:extLst>
          </p:cNvPr>
          <p:cNvSpPr/>
          <p:nvPr/>
        </p:nvSpPr>
        <p:spPr>
          <a:xfrm>
            <a:off x="-918218" y="1180618"/>
            <a:ext cx="7920902" cy="6146156"/>
          </a:xfrm>
          <a:prstGeom prst="flowChartConnector">
            <a:avLst/>
          </a:prstGeom>
          <a:solidFill>
            <a:srgbClr val="EFF5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106CF93-0E3D-4094-AE64-E79D8BE31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Een MEP productie i.s.m. EAGR en </a:t>
            </a:r>
            <a:r>
              <a:rPr lang="nl-NL" dirty="0" err="1"/>
              <a:t>GroundBreaking</a:t>
            </a:r>
            <a:endParaRPr lang="nl-NL" dirty="0"/>
          </a:p>
        </p:txBody>
      </p:sp>
      <p:sp>
        <p:nvSpPr>
          <p:cNvPr id="6" name="Tijdelijke aanduiding voor inhoud 2">
            <a:extLst>
              <a:ext uri="{FF2B5EF4-FFF2-40B4-BE49-F238E27FC236}">
                <a16:creationId xmlns:a16="http://schemas.microsoft.com/office/drawing/2014/main" id="{2ADAC495-4715-46DC-AB67-CBAE7E53EA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6345" y="2820322"/>
            <a:ext cx="6597570" cy="3536028"/>
          </a:xfrm>
        </p:spPr>
        <p:txBody>
          <a:bodyPr anchor="ctr">
            <a:noAutofit/>
          </a:bodyPr>
          <a:lstStyle/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 toekomst is elektrisch.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We zitten in een transitiefase.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ver 5 jaar is alles anders. Andere doelen, inzichten, …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Zekerheid zoeken in tijden van transitie werkt verlammend. 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lexibiliteit in plan en aanpak. Transitie kan je niet plannen.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Ketenintegraal denken voor snelle ontwikkeling.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aktisch samenwerken, met verstand van zaken, om de opportunity’s te spotten.</a:t>
            </a:r>
          </a:p>
          <a:p>
            <a:r>
              <a:rPr lang="nl-NL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ansitie betekent ruimte voor ‘EMERGENCE’.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F5DEAD7-DC27-459C-9AE4-3C1720B5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187" y="1561270"/>
            <a:ext cx="4204137" cy="1342754"/>
          </a:xfrm>
        </p:spPr>
        <p:txBody>
          <a:bodyPr>
            <a:normAutofit/>
          </a:bodyPr>
          <a:lstStyle/>
          <a:p>
            <a:pPr algn="ctr"/>
            <a:r>
              <a:rPr lang="nl-NL" sz="3600" dirty="0"/>
              <a:t>Conclusies</a:t>
            </a:r>
          </a:p>
        </p:txBody>
      </p:sp>
    </p:spTree>
    <p:extLst>
      <p:ext uri="{BB962C8B-B14F-4D97-AF65-F5344CB8AC3E}">
        <p14:creationId xmlns:p14="http://schemas.microsoft.com/office/powerpoint/2010/main" val="336739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" grpId="0" build="p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C206AC9C-2B8B-48E0-BA16-E36C0E49F6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895" y="1683394"/>
            <a:ext cx="6071671" cy="3491211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62C6317A-AD1F-40EA-9563-928E30286FA9}"/>
              </a:ext>
            </a:extLst>
          </p:cNvPr>
          <p:cNvSpPr txBox="1"/>
          <p:nvPr/>
        </p:nvSpPr>
        <p:spPr>
          <a:xfrm>
            <a:off x="6991157" y="4251275"/>
            <a:ext cx="43632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tx1">
                    <a:lumMod val="95000"/>
                    <a:lumOff val="5000"/>
                  </a:schemeClr>
                </a:solidFill>
              </a:rPr>
              <a:t>Willem Stehouwer</a:t>
            </a:r>
          </a:p>
          <a:p>
            <a:r>
              <a:rPr lang="nl-NL" dirty="0">
                <a:solidFill>
                  <a:schemeClr val="tx1">
                    <a:lumMod val="95000"/>
                    <a:lumOff val="5000"/>
                  </a:schemeClr>
                </a:solidFill>
              </a:rPr>
              <a:t>+31 654 360 654</a:t>
            </a:r>
          </a:p>
          <a:p>
            <a:r>
              <a:rPr lang="nl-NL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willem.stehouwer@mep.energy</a:t>
            </a:r>
            <a:endParaRPr lang="nl-NL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037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</TotalTime>
  <Words>99</Words>
  <Application>Microsoft Macintosh PowerPoint</Application>
  <PresentationFormat>Breedbeeld</PresentationFormat>
  <Paragraphs>13</Paragraphs>
  <Slides>2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Conclusies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29</cp:revision>
  <dcterms:created xsi:type="dcterms:W3CDTF">2019-02-24T15:05:00Z</dcterms:created>
  <dcterms:modified xsi:type="dcterms:W3CDTF">2019-02-25T13:09:19Z</dcterms:modified>
</cp:coreProperties>
</file>